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66" d="100"/>
          <a:sy n="66" d="100"/>
        </p:scale>
        <p:origin x="-1470" y="-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ver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Genpact_Master_BLUE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81576" y="6220074"/>
            <a:ext cx="1433827" cy="218855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8600" y="5334191"/>
            <a:ext cx="8686800" cy="369332"/>
          </a:xfr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8600" y="5749244"/>
            <a:ext cx="6972300" cy="514301"/>
          </a:xfrm>
        </p:spPr>
        <p:txBody>
          <a:bodyPr anchor="t"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0" y="4594860"/>
            <a:ext cx="9144000" cy="381000"/>
            <a:chOff x="0" y="0"/>
            <a:chExt cx="9144000" cy="381000"/>
          </a:xfrm>
        </p:grpSpPr>
        <p:sp>
          <p:nvSpPr>
            <p:cNvPr id="11" name="Rectangle 10"/>
            <p:cNvSpPr/>
            <p:nvPr userDrawn="1"/>
          </p:nvSpPr>
          <p:spPr>
            <a:xfrm>
              <a:off x="0" y="0"/>
              <a:ext cx="9144000" cy="324620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pic>
          <p:nvPicPr>
            <p:cNvPr id="12" name="Picture 11" descr="Genpact_Headline2_Outline.png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559464" y="83264"/>
              <a:ext cx="2400380" cy="149784"/>
            </a:xfrm>
            <a:prstGeom prst="rect">
              <a:avLst/>
            </a:prstGeom>
          </p:spPr>
        </p:pic>
        <p:sp>
          <p:nvSpPr>
            <p:cNvPr id="13" name="Rectangle 12"/>
            <p:cNvSpPr/>
            <p:nvPr userDrawn="1"/>
          </p:nvSpPr>
          <p:spPr>
            <a:xfrm>
              <a:off x="0" y="317863"/>
              <a:ext cx="9144000" cy="63137"/>
            </a:xfrm>
            <a:prstGeom prst="rect">
              <a:avLst/>
            </a:prstGeom>
            <a:solidFill>
              <a:srgbClr val="00A3E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228600" y="6438900"/>
            <a:ext cx="23487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prstClr val="white">
                    <a:lumMod val="50000"/>
                  </a:prstClr>
                </a:solidFill>
              </a:rPr>
              <a:t>DESIGN ∙ TRANSFORM ∙ RUN</a:t>
            </a:r>
          </a:p>
        </p:txBody>
      </p:sp>
      <p:pic>
        <p:nvPicPr>
          <p:cNvPr id="15" name="Picture 14" descr="Genpact_Master_BLUE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81576" y="6220074"/>
            <a:ext cx="1433827" cy="218855"/>
          </a:xfrm>
          <a:prstGeom prst="rect">
            <a:avLst/>
          </a:prstGeom>
        </p:spPr>
      </p:pic>
      <p:grpSp>
        <p:nvGrpSpPr>
          <p:cNvPr id="16" name="Group 15"/>
          <p:cNvGrpSpPr/>
          <p:nvPr/>
        </p:nvGrpSpPr>
        <p:grpSpPr>
          <a:xfrm>
            <a:off x="0" y="4594860"/>
            <a:ext cx="9144000" cy="381000"/>
            <a:chOff x="0" y="0"/>
            <a:chExt cx="9144000" cy="381000"/>
          </a:xfrm>
        </p:grpSpPr>
        <p:sp>
          <p:nvSpPr>
            <p:cNvPr id="17" name="Rectangle 16"/>
            <p:cNvSpPr/>
            <p:nvPr userDrawn="1"/>
          </p:nvSpPr>
          <p:spPr>
            <a:xfrm>
              <a:off x="0" y="0"/>
              <a:ext cx="9144000" cy="324620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pic>
          <p:nvPicPr>
            <p:cNvPr id="18" name="Picture 17" descr="Genpact_Headline2_Outline.png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559464" y="83264"/>
              <a:ext cx="2400380" cy="149784"/>
            </a:xfrm>
            <a:prstGeom prst="rect">
              <a:avLst/>
            </a:prstGeom>
          </p:spPr>
        </p:pic>
        <p:sp>
          <p:nvSpPr>
            <p:cNvPr id="19" name="Rectangle 18"/>
            <p:cNvSpPr/>
            <p:nvPr userDrawn="1"/>
          </p:nvSpPr>
          <p:spPr>
            <a:xfrm>
              <a:off x="0" y="317863"/>
              <a:ext cx="9144000" cy="63137"/>
            </a:xfrm>
            <a:prstGeom prst="rect">
              <a:avLst/>
            </a:prstGeom>
            <a:solidFill>
              <a:srgbClr val="00A3E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20" name="TextBox 19"/>
          <p:cNvSpPr txBox="1"/>
          <p:nvPr/>
        </p:nvSpPr>
        <p:spPr>
          <a:xfrm>
            <a:off x="228600" y="6438900"/>
            <a:ext cx="23487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prstClr val="white">
                    <a:lumMod val="50000"/>
                  </a:prstClr>
                </a:solidFill>
              </a:rPr>
              <a:t>DESIGN ∙ TRANSFORM ∙ RUN</a:t>
            </a:r>
          </a:p>
        </p:txBody>
      </p:sp>
    </p:spTree>
    <p:extLst>
      <p:ext uri="{BB962C8B-B14F-4D97-AF65-F5344CB8AC3E}">
        <p14:creationId xmlns:p14="http://schemas.microsoft.com/office/powerpoint/2010/main" val="15418572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53726" y="17522"/>
            <a:ext cx="6370899" cy="276999"/>
          </a:xfrm>
          <a:noFill/>
        </p:spPr>
        <p:txBody>
          <a:bodyPr wrap="square" rtlCol="0">
            <a:spAutoFit/>
          </a:bodyPr>
          <a:lstStyle>
            <a:lvl1pPr>
              <a:defRPr lang="en-US" sz="12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 </a:t>
            </a:r>
            <a:r>
              <a:rPr lang="en-US" sz="900" dirty="0" smtClean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5680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with Black hea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53726" y="17522"/>
            <a:ext cx="6399474" cy="276999"/>
          </a:xfrm>
          <a:noFill/>
        </p:spPr>
        <p:txBody>
          <a:bodyPr wrap="square" rtlCol="0">
            <a:spAutoFit/>
          </a:bodyPr>
          <a:lstStyle>
            <a:lvl1pPr>
              <a:defRPr lang="en-US" sz="12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 </a:t>
            </a:r>
            <a:r>
              <a:rPr lang="en-US" sz="900" dirty="0" smtClean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31975" y="457200"/>
            <a:ext cx="8783425" cy="1047750"/>
          </a:xfrm>
        </p:spPr>
        <p:txBody>
          <a:bodyPr anchor="t">
            <a:normAutofit/>
          </a:bodyPr>
          <a:lstStyle>
            <a:lvl1pPr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8243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1975" y="457199"/>
            <a:ext cx="8783425" cy="899093"/>
          </a:xfrm>
        </p:spPr>
        <p:txBody>
          <a:bodyPr anchor="t">
            <a:normAutofit/>
          </a:bodyPr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8600" y="1356293"/>
            <a:ext cx="8686800" cy="1794337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6666589"/>
            <a:ext cx="20574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C8BF5DCE-C96A-4825-8098-3E8DF421EB64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53726" y="17522"/>
            <a:ext cx="6370899" cy="276999"/>
          </a:xfrm>
          <a:noFill/>
        </p:spPr>
        <p:txBody>
          <a:bodyPr wrap="square" rtlCol="0">
            <a:spAutoFit/>
          </a:bodyPr>
          <a:lstStyle>
            <a:lvl1pPr>
              <a:defRPr lang="en-US" sz="12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 </a:t>
            </a:r>
            <a:r>
              <a:rPr lang="en-US" sz="900" dirty="0" smtClean="0">
                <a:solidFill>
                  <a:schemeClr val="bg2"/>
                </a:solidFill>
              </a:rPr>
              <a:t> 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80468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ec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0693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49223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3296947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3350" y="365127"/>
            <a:ext cx="8686800" cy="9378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600" y="1356293"/>
            <a:ext cx="8686800" cy="1735860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grpSp>
        <p:nvGrpSpPr>
          <p:cNvPr id="7" name="Group 6"/>
          <p:cNvGrpSpPr/>
          <p:nvPr/>
        </p:nvGrpSpPr>
        <p:grpSpPr>
          <a:xfrm>
            <a:off x="0" y="0"/>
            <a:ext cx="9144000" cy="381000"/>
            <a:chOff x="0" y="0"/>
            <a:chExt cx="9144000" cy="381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9144000" cy="324620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Genpact_Headline2_Outline.png"/>
            <p:cNvPicPr>
              <a:picLocks noChangeAspect="1"/>
            </p:cNvPicPr>
            <p:nvPr userDrawn="1"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59464" y="83264"/>
              <a:ext cx="2400380" cy="149784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317863"/>
              <a:ext cx="9144000" cy="63137"/>
            </a:xfrm>
            <a:prstGeom prst="rect">
              <a:avLst/>
            </a:prstGeom>
            <a:solidFill>
              <a:srgbClr val="00A3E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cxnSp>
        <p:nvCxnSpPr>
          <p:cNvPr id="13" name="Straight Connector 12"/>
          <p:cNvCxnSpPr/>
          <p:nvPr/>
        </p:nvCxnSpPr>
        <p:spPr>
          <a:xfrm>
            <a:off x="0" y="6586327"/>
            <a:ext cx="9144000" cy="1588"/>
          </a:xfrm>
          <a:prstGeom prst="line">
            <a:avLst/>
          </a:prstGeom>
          <a:ln w="952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229864" y="6666589"/>
            <a:ext cx="508846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solidFill>
                  <a:prstClr val="black">
                    <a:lumMod val="75000"/>
                    <a:lumOff val="25000"/>
                  </a:prstClr>
                </a:solidFill>
                <a:cs typeface="Arial"/>
              </a:rPr>
              <a:t>DESIGN • TRANSFORM • RUN</a:t>
            </a:r>
          </a:p>
        </p:txBody>
      </p:sp>
      <p:sp>
        <p:nvSpPr>
          <p:cNvPr id="11" name="Slide Number Placeholder 2"/>
          <p:cNvSpPr txBox="1">
            <a:spLocks/>
          </p:cNvSpPr>
          <p:nvPr/>
        </p:nvSpPr>
        <p:spPr>
          <a:xfrm>
            <a:off x="6932588" y="6618795"/>
            <a:ext cx="2057400" cy="12311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E4F94C26-2A70-4961-AAB1-3557AEA8AC57}" type="slidenum">
              <a:rPr lang="en-US" sz="800" smtClean="0">
                <a:solidFill>
                  <a:srgbClr val="1AA2DC"/>
                </a:solidFill>
              </a:rPr>
              <a:pPr algn="r"/>
              <a:t>‹#›</a:t>
            </a:fld>
            <a:endParaRPr lang="en-US" sz="800" dirty="0">
              <a:solidFill>
                <a:srgbClr val="1AA2DC"/>
              </a:solidFill>
            </a:endParaRPr>
          </a:p>
        </p:txBody>
      </p:sp>
      <p:sp>
        <p:nvSpPr>
          <p:cNvPr id="12" name="Footer Placeholder 81"/>
          <p:cNvSpPr txBox="1">
            <a:spLocks noGrp="1"/>
          </p:cNvSpPr>
          <p:nvPr/>
        </p:nvSpPr>
        <p:spPr bwMode="auto">
          <a:xfrm>
            <a:off x="6632575" y="6677819"/>
            <a:ext cx="1958975" cy="14446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 eaLnBrk="0" hangingPunct="0"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>
              <a:defRPr/>
            </a:pPr>
            <a:r>
              <a:rPr lang="en-US" sz="700" dirty="0" smtClean="0">
                <a:solidFill>
                  <a:srgbClr val="414141"/>
                </a:solidFill>
                <a:ea typeface="Arial Unicode MS" pitchFamily="34" charset="-128"/>
                <a:cs typeface="Arial Unicode MS" pitchFamily="34" charset="-128"/>
              </a:rPr>
              <a:t>© 2014 Copyright Genpact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781716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spcAft>
          <a:spcPts val="400"/>
        </a:spcAft>
        <a:buFont typeface="Arial" panose="020B0604020202020204" pitchFamily="34" charset="0"/>
        <a:buNone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69863" indent="-169863" algn="l" defTabSz="914400" rtl="0" eaLnBrk="1" latinLnBrk="0" hangingPunct="1">
        <a:lnSpc>
          <a:spcPct val="100000"/>
        </a:lnSpc>
        <a:spcBef>
          <a:spcPts val="500"/>
        </a:spcBef>
        <a:spcAft>
          <a:spcPts val="400"/>
        </a:spcAft>
        <a:buClr>
          <a:schemeClr val="bg2"/>
        </a:buClr>
        <a:buSzPct val="85000"/>
        <a:buFont typeface="Wingdings" panose="05000000000000000000" pitchFamily="2" charset="2"/>
        <a:buChar char="§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347663" indent="-177800" algn="l" defTabSz="914400" rtl="0" eaLnBrk="1" latinLnBrk="0" hangingPunct="1">
        <a:lnSpc>
          <a:spcPct val="100000"/>
        </a:lnSpc>
        <a:spcBef>
          <a:spcPts val="500"/>
        </a:spcBef>
        <a:spcAft>
          <a:spcPts val="400"/>
        </a:spcAft>
        <a:buClr>
          <a:schemeClr val="bg2"/>
        </a:buClr>
        <a:buSzPct val="50000"/>
        <a:buFont typeface="Arial" panose="020B0604020202020204" pitchFamily="34" charset="0"/>
        <a:buChar char="–"/>
        <a:tabLst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515938" indent="-168275" algn="l" defTabSz="914400" rtl="0" eaLnBrk="1" latinLnBrk="0" hangingPunct="1">
        <a:lnSpc>
          <a:spcPct val="100000"/>
        </a:lnSpc>
        <a:spcBef>
          <a:spcPts val="500"/>
        </a:spcBef>
        <a:spcAft>
          <a:spcPts val="400"/>
        </a:spcAft>
        <a:buClr>
          <a:schemeClr val="bg2"/>
        </a:buClr>
        <a:buSzPct val="65000"/>
        <a:buFont typeface="Wingdings" panose="05000000000000000000" pitchFamily="2" charset="2"/>
        <a:buChar char="§"/>
        <a:defRPr sz="14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685800" indent="-169863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SzPct val="65000"/>
        <a:buFont typeface="Arial" panose="020B0604020202020204" pitchFamily="34" charset="0"/>
        <a:buChar char="–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144" userDrawn="1">
          <p15:clr>
            <a:srgbClr val="F26B43"/>
          </p15:clr>
        </p15:guide>
        <p15:guide id="4" pos="5616" userDrawn="1">
          <p15:clr>
            <a:srgbClr val="F26B43"/>
          </p15:clr>
        </p15:guide>
        <p15:guide id="5" orient="horz" pos="40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PowerPoint Template Genpact2014.8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34340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enpact2014.8">
  <a:themeElements>
    <a:clrScheme name="GNPT2">
      <a:dk1>
        <a:sysClr val="windowText" lastClr="000000"/>
      </a:dk1>
      <a:lt1>
        <a:sysClr val="window" lastClr="FFFFFF"/>
      </a:lt1>
      <a:dk2>
        <a:srgbClr val="F5E003"/>
      </a:dk2>
      <a:lt2>
        <a:srgbClr val="1AA2DC"/>
      </a:lt2>
      <a:accent1>
        <a:srgbClr val="00608A"/>
      </a:accent1>
      <a:accent2>
        <a:srgbClr val="905500"/>
      </a:accent2>
      <a:accent3>
        <a:srgbClr val="4C7520"/>
      </a:accent3>
      <a:accent4>
        <a:srgbClr val="F7941E"/>
      </a:accent4>
      <a:accent5>
        <a:srgbClr val="8DC63F"/>
      </a:accent5>
      <a:accent6>
        <a:srgbClr val="959697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enpact2014.8</Template>
  <TotalTime>1</TotalTime>
  <Words>3</Words>
  <Application>Microsoft Office PowerPoint</Application>
  <PresentationFormat>On-screen Show (4:3)</PresentationFormat>
  <Paragraphs>1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Genpact2014.8</vt:lpstr>
      <vt:lpstr>think-cell Slide</vt:lpstr>
      <vt:lpstr>PowerPoint Presentation</vt:lpstr>
    </vt:vector>
  </TitlesOfParts>
  <Company>Genpac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encore</dc:creator>
  <cp:lastModifiedBy>Gencore</cp:lastModifiedBy>
  <cp:revision>1</cp:revision>
  <dcterms:created xsi:type="dcterms:W3CDTF">2014-12-08T13:22:45Z</dcterms:created>
  <dcterms:modified xsi:type="dcterms:W3CDTF">2014-12-08T13:24:10Z</dcterms:modified>
</cp:coreProperties>
</file>